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0"/>
  </p:notesMasterIdLst>
  <p:sldIdLst>
    <p:sldId id="256" r:id="rId5"/>
    <p:sldId id="2134805295" r:id="rId6"/>
    <p:sldId id="2134805298" r:id="rId7"/>
    <p:sldId id="2134805313" r:id="rId8"/>
    <p:sldId id="2134805314" r:id="rId9"/>
  </p:sldIdLst>
  <p:sldSz cx="9144000" cy="6858000" type="screen4x3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88B3C8-4560-419B-8FC2-A190EE59CDDD}" v="11" dt="2020-05-08T14:01:43.9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29" autoAdjust="0"/>
  </p:normalViewPr>
  <p:slideViewPr>
    <p:cSldViewPr snapToGrid="0">
      <p:cViewPr varScale="1">
        <p:scale>
          <a:sx n="67" d="100"/>
          <a:sy n="67" d="100"/>
        </p:scale>
        <p:origin x="12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biri, Ayda" userId="b37f3988-c176-4be8-807a-107e80ddceeb" providerId="ADAL" clId="{FF88B3C8-4560-419B-8FC2-A190EE59CDDD}"/>
    <pc:docChg chg="custSel addSld modSld">
      <pc:chgData name="Dabiri, Ayda" userId="b37f3988-c176-4be8-807a-107e80ddceeb" providerId="ADAL" clId="{FF88B3C8-4560-419B-8FC2-A190EE59CDDD}" dt="2020-05-08T14:01:57.104" v="183" actId="20577"/>
      <pc:docMkLst>
        <pc:docMk/>
      </pc:docMkLst>
      <pc:sldChg chg="modSp">
        <pc:chgData name="Dabiri, Ayda" userId="b37f3988-c176-4be8-807a-107e80ddceeb" providerId="ADAL" clId="{FF88B3C8-4560-419B-8FC2-A190EE59CDDD}" dt="2020-05-08T14:01:57.104" v="183" actId="20577"/>
        <pc:sldMkLst>
          <pc:docMk/>
          <pc:sldMk cId="2383934936" sldId="256"/>
        </pc:sldMkLst>
        <pc:spChg chg="mod">
          <ac:chgData name="Dabiri, Ayda" userId="b37f3988-c176-4be8-807a-107e80ddceeb" providerId="ADAL" clId="{FF88B3C8-4560-419B-8FC2-A190EE59CDDD}" dt="2020-05-08T13:59:40.282" v="156" actId="20577"/>
          <ac:spMkLst>
            <pc:docMk/>
            <pc:sldMk cId="2383934936" sldId="256"/>
            <ac:spMk id="9" creationId="{8C7CA0D1-8B49-4675-8A5E-57C7F64475C1}"/>
          </ac:spMkLst>
        </pc:spChg>
        <pc:graphicFrameChg chg="mod modGraphic">
          <ac:chgData name="Dabiri, Ayda" userId="b37f3988-c176-4be8-807a-107e80ddceeb" providerId="ADAL" clId="{FF88B3C8-4560-419B-8FC2-A190EE59CDDD}" dt="2020-05-08T14:01:57.104" v="183" actId="20577"/>
          <ac:graphicFrameMkLst>
            <pc:docMk/>
            <pc:sldMk cId="2383934936" sldId="256"/>
            <ac:graphicFrameMk id="14" creationId="{F23ADA95-2EB2-45F5-AA21-8B52FA9A9E11}"/>
          </ac:graphicFrameMkLst>
        </pc:graphicFrameChg>
      </pc:sldChg>
      <pc:sldChg chg="modSp add">
        <pc:chgData name="Dabiri, Ayda" userId="b37f3988-c176-4be8-807a-107e80ddceeb" providerId="ADAL" clId="{FF88B3C8-4560-419B-8FC2-A190EE59CDDD}" dt="2020-05-08T13:34:22.026" v="1" actId="27636"/>
        <pc:sldMkLst>
          <pc:docMk/>
          <pc:sldMk cId="650433614" sldId="2134805295"/>
        </pc:sldMkLst>
        <pc:spChg chg="mod">
          <ac:chgData name="Dabiri, Ayda" userId="b37f3988-c176-4be8-807a-107e80ddceeb" providerId="ADAL" clId="{FF88B3C8-4560-419B-8FC2-A190EE59CDDD}" dt="2020-05-08T13:34:22.026" v="1" actId="27636"/>
          <ac:spMkLst>
            <pc:docMk/>
            <pc:sldMk cId="650433614" sldId="2134805295"/>
            <ac:spMk id="4" creationId="{B614C366-D9AB-4E25-AB87-602A6962A954}"/>
          </ac:spMkLst>
        </pc:spChg>
      </pc:sldChg>
      <pc:sldChg chg="add">
        <pc:chgData name="Dabiri, Ayda" userId="b37f3988-c176-4be8-807a-107e80ddceeb" providerId="ADAL" clId="{FF88B3C8-4560-419B-8FC2-A190EE59CDDD}" dt="2020-05-08T13:34:21.861" v="0"/>
        <pc:sldMkLst>
          <pc:docMk/>
          <pc:sldMk cId="1520169222" sldId="2134805298"/>
        </pc:sldMkLst>
      </pc:sldChg>
      <pc:sldChg chg="add">
        <pc:chgData name="Dabiri, Ayda" userId="b37f3988-c176-4be8-807a-107e80ddceeb" providerId="ADAL" clId="{FF88B3C8-4560-419B-8FC2-A190EE59CDDD}" dt="2020-05-08T13:34:21.861" v="0"/>
        <pc:sldMkLst>
          <pc:docMk/>
          <pc:sldMk cId="2725114622" sldId="2134805313"/>
        </pc:sldMkLst>
      </pc:sldChg>
      <pc:sldChg chg="add">
        <pc:chgData name="Dabiri, Ayda" userId="b37f3988-c176-4be8-807a-107e80ddceeb" providerId="ADAL" clId="{FF88B3C8-4560-419B-8FC2-A190EE59CDDD}" dt="2020-05-08T13:34:21.861" v="0"/>
        <pc:sldMkLst>
          <pc:docMk/>
          <pc:sldMk cId="96361665" sldId="2134805314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363" y="1279525"/>
            <a:ext cx="46053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63563"/>
            <a:ext cx="4225925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3316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17428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00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0623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8864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7479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4311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GB" sz="1875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28600" y="1632067"/>
            <a:ext cx="2859786" cy="18281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671275" y="65841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75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675" dirty="0">
              <a:solidFill>
                <a:schemeClr val="accent5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28600" y="6595721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6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28600" y="41598"/>
            <a:ext cx="2882504" cy="83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accent5"/>
                </a:solidFill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58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9118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6907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5548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5964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4630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5048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5716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6221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5595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naomi.lee@lancet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.xml"/><Relationship Id="rId9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7032307" y="935321"/>
            <a:ext cx="14525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I-05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5906855" y="1304653"/>
            <a:ext cx="25413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/>
              <a:t>E-meeting, 7-8 May 2020</a:t>
            </a:r>
            <a:endParaRPr lang="en-GB" dirty="0"/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083964"/>
              </p:ext>
            </p:extLst>
          </p:nvPr>
        </p:nvGraphicFramePr>
        <p:xfrm>
          <a:off x="933576" y="3247161"/>
          <a:ext cx="7112397" cy="2606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39830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2670044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302523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ource: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ditors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Title: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s on the preparation of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L07.4: Clinical Evaluation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Discussion | Information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4458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Contact: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omi Lee, Lancet, UK</a:t>
                      </a:r>
                    </a:p>
                    <a:p>
                      <a:r>
                        <a:rPr lang="sv-SE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pa Sarkar, Lancet, UK</a:t>
                      </a: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-mail: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aomi.lee@lancet.com</a:t>
                      </a:r>
                      <a:endParaRPr lang="en-GB" sz="1800" kern="12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</a:rPr>
                        <a:t>E-mail: rupa.Sarkar@lancet.com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Abstract:</a:t>
                      </a:r>
                      <a:endParaRPr lang="en-GB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This PPT contains an update on the preparation of 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07.4: Clinical Evaluation and the Working Group on Clinical Evaluation.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A7BF67E-C462-418C-AC85-20FC5AFD22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A7BF67E-C462-418C-AC85-20FC5AFD2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8FF9EA98-B841-43D8-9660-C250B56892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33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614C366-D9AB-4E25-AB87-602A6962A954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accent1"/>
                </a:solidFill>
              </a:rPr>
              <a:t>Working Group on Clinical Validation(WG-RC)</a:t>
            </a: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0C1EE676-43B1-4937-AAA2-FD523B0B07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034" y="5524924"/>
            <a:ext cx="366123" cy="386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4336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3199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7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rpose &amp; Sco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If AI systems are to be </a:t>
            </a:r>
            <a:r>
              <a:rPr lang="en-US" sz="2100" dirty="0">
                <a:solidFill>
                  <a:schemeClr val="accent1"/>
                </a:solidFill>
              </a:rPr>
              <a:t>trusted</a:t>
            </a:r>
            <a:r>
              <a:rPr lang="en-US" sz="2100" dirty="0"/>
              <a:t> with tasks within healthcare, decision makers and healthcare professionals require independent evidence of effectivenes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The familiar pathway of clinical studies and </a:t>
            </a:r>
            <a:r>
              <a:rPr lang="en-US" sz="2100" dirty="0" err="1"/>
              <a:t>randomised</a:t>
            </a:r>
            <a:r>
              <a:rPr lang="en-US" sz="2100" dirty="0"/>
              <a:t> control trials is a good model for pharmacological or surgical intervention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The </a:t>
            </a:r>
            <a:r>
              <a:rPr lang="en-US" sz="2100" dirty="0">
                <a:solidFill>
                  <a:schemeClr val="accent1"/>
                </a:solidFill>
              </a:rPr>
              <a:t>requirements</a:t>
            </a:r>
            <a:r>
              <a:rPr lang="en-US" sz="2100" dirty="0"/>
              <a:t> can be subtly different for AI systems that are continuously evolving with version changes and iterations occurring rapidly. </a:t>
            </a:r>
            <a:endParaRPr lang="en-GB" sz="2100" dirty="0"/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0169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3480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7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 to date: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1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First draft of document on clinical evaluation: 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Gives an </a:t>
            </a:r>
            <a:r>
              <a:rPr lang="en-US" sz="21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overview of current challenges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21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Had been working on obtaining funding for in person meetings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Unlikely to be possible now in a timely manner</a:t>
            </a:r>
            <a:endParaRPr lang="en-US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51146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2508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7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xt steps: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21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To arrange an virtual meeting of experts to feed back on and improve this document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361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WEH6UQI6_qaVOFUVcw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13c52cb54d6c8b687ea58071e52f4e6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19c8027f12dc0326c57fc181fc1116f3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0AB9576-207A-4A9E-B801-CD2BC33702DB}"/>
</file>

<file path=customXml/itemProps2.xml><?xml version="1.0" encoding="utf-8"?>
<ds:datastoreItem xmlns:ds="http://schemas.openxmlformats.org/officeDocument/2006/customXml" ds:itemID="{8D757891-533E-4B08-9CC2-432445C0232A}"/>
</file>

<file path=customXml/itemProps3.xml><?xml version="1.0" encoding="utf-8"?>
<ds:datastoreItem xmlns:ds="http://schemas.openxmlformats.org/officeDocument/2006/customXml" ds:itemID="{263EDF69-883F-4630-8D5D-47FF3AA110B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2</TotalTime>
  <Words>219</Words>
  <Application>Microsoft Office PowerPoint</Application>
  <PresentationFormat>On-screen Show (4:3)</PresentationFormat>
  <Paragraphs>3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等线</vt:lpstr>
      <vt:lpstr>Arial</vt:lpstr>
      <vt:lpstr>Calibri</vt:lpstr>
      <vt:lpstr>Calibri Light</vt:lpstr>
      <vt:lpstr>Courier New</vt:lpstr>
      <vt:lpstr>Segoe UI</vt:lpstr>
      <vt:lpstr>Wingdings</vt:lpstr>
      <vt:lpstr>Office 主题​​</vt:lpstr>
      <vt:lpstr>think-cell Slide</vt:lpstr>
      <vt:lpstr>PowerPoint Presentation</vt:lpstr>
      <vt:lpstr>Working Group on Clinical Validation(WG-RC)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s on the preparation of DEL07.4: Clinical Evaluation</dc:title>
  <dc:creator>Campos, Simao</dc:creator>
  <cp:lastModifiedBy>Dabiri, Ayda</cp:lastModifiedBy>
  <cp:revision>66</cp:revision>
  <cp:lastPrinted>2019-04-04T08:49:31Z</cp:lastPrinted>
  <dcterms:created xsi:type="dcterms:W3CDTF">2019-03-31T15:53:06Z</dcterms:created>
  <dcterms:modified xsi:type="dcterms:W3CDTF">2020-05-08T14:0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